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842" r:id="rId2"/>
    <p:sldId id="954" r:id="rId3"/>
    <p:sldId id="955" r:id="rId4"/>
    <p:sldId id="956" r:id="rId5"/>
    <p:sldId id="957" r:id="rId6"/>
    <p:sldId id="76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svg"/><Relationship Id="rId18" Type="http://schemas.openxmlformats.org/officeDocument/2006/relationships/image" Target="../media/image14.emf"/><Relationship Id="rId3" Type="http://schemas.openxmlformats.org/officeDocument/2006/relationships/tags" Target="../tags/tag3.xml"/><Relationship Id="rId21" Type="http://schemas.openxmlformats.org/officeDocument/2006/relationships/image" Target="../media/image17.emf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17" Type="http://schemas.openxmlformats.org/officeDocument/2006/relationships/image" Target="../media/image13.emf"/><Relationship Id="rId2" Type="http://schemas.openxmlformats.org/officeDocument/2006/relationships/tags" Target="../tags/tag2.xml"/><Relationship Id="rId16" Type="http://schemas.openxmlformats.org/officeDocument/2006/relationships/image" Target="../media/image12.emf"/><Relationship Id="rId20" Type="http://schemas.openxmlformats.org/officeDocument/2006/relationships/image" Target="../media/image16.emf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emf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15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19.emf"/><Relationship Id="rId2" Type="http://schemas.openxmlformats.org/officeDocument/2006/relationships/tags" Target="../tags/tag5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16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15.emf"/><Relationship Id="rId3" Type="http://schemas.openxmlformats.org/officeDocument/2006/relationships/tags" Target="../tags/tag9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0.emf"/><Relationship Id="rId2" Type="http://schemas.openxmlformats.org/officeDocument/2006/relationships/tags" Target="../tags/tag8.xml"/><Relationship Id="rId16" Type="http://schemas.openxmlformats.org/officeDocument/2006/relationships/image" Target="../media/image13.emf"/><Relationship Id="rId20" Type="http://schemas.openxmlformats.org/officeDocument/2006/relationships/image" Target="../media/image22.emf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21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1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3.emf"/><Relationship Id="rId2" Type="http://schemas.openxmlformats.org/officeDocument/2006/relationships/tags" Target="../tags/tag11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24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02 octobre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126B242F-96D5-6731-99A7-1962645CCA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23C48C5-8143-62DE-90F7-C11681817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4" progId="TCLayout.ActiveDocument.1">
                  <p:embed/>
                </p:oleObj>
              </mc:Choice>
              <mc:Fallback>
                <p:oleObj name="think-cell Slide" r:id="rId8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L.V.A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5,4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NA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3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3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2,2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’huiles et graisses végétales et animal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'huiles et graisses brut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88,8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-2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0627CB5-84C5-F75C-1757-711EE27E215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07C4A62-93FB-03CE-AF67-E7FA869DDE9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5862F17-FACE-A0D3-F2AB-2614FAFF764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5107CD6-DE78-6CC3-79D1-6BB1F1046E0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B2DAB1C-9465-739C-72AE-5DA5A3DD360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8FF08D7D-04A5-C376-C987-4494B43BF8B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311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6E146F31-56AE-5B53-A54A-23E0FB398C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S.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7,8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18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62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3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boisson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vins effervescent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4,9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,7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30C2FD5-156F-DA17-A827-ADB7175D2C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54152C-F3BF-5891-2DCE-1EFA60F7378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DC6C377-4C5E-63E5-79F2-6727FEBE29E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FFA732E-AE8D-6766-ECB2-BABA8ED0AB7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293650E-4BB7-CF00-A9DD-83A87730225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B177C8FC-904A-877B-EAC4-86AE3683FF2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931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D4905F-1065-5E8C-5668-3566DF393C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 DE L'ORIENT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4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10,6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4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,6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9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8,2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,3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F735CFC-CF20-67C9-3026-640EB8B4D70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A773926-31AC-778C-0BF9-FEBD7206983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2A00D9E-2B87-C2ED-F8D9-70F31FD4C0A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4917CFD-DD9B-2BDF-D237-61EAC3182D5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30F66F3-6575-73F9-0FE8-956396330BA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8CE908A-7CB6-9A13-B277-DD0F5932B7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296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8616F5A-17B5-FFAC-E4E7-ED34D06A19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S DES CRETS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6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9,0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6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6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,7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,1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98,1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5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D1F2FA9A-9995-9910-3BE0-E616089F5DE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4C9FC9A7-743A-1FE6-5004-B3BD878B49E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6395508-6332-67DC-2E2A-C6CC3B9D96F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D6BD9E4-4944-7C98-EF26-3A00769CAC9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90C88DB-5DE4-7A1B-7B2B-92B61C1F4D6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4D6A67F-3DE4-ACB3-3ECA-5A5C3F1F62C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85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615</Words>
  <Application>Microsoft Office PowerPoint</Application>
  <PresentationFormat>Widescreen</PresentationFormat>
  <Paragraphs>15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101</cp:revision>
  <dcterms:created xsi:type="dcterms:W3CDTF">2025-05-09T11:21:43Z</dcterms:created>
  <dcterms:modified xsi:type="dcterms:W3CDTF">2025-10-02T16:33:05Z</dcterms:modified>
</cp:coreProperties>
</file>